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4270" r:id="rId2"/>
    <p:sldId id="4271" r:id="rId3"/>
    <p:sldId id="4272" r:id="rId4"/>
    <p:sldId id="4273" r:id="rId5"/>
    <p:sldId id="4274" r:id="rId6"/>
    <p:sldId id="4276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2597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CC213307-806E-488E-B632-2D0B6FC96E23}"/>
    <pc:docChg chg="modSld">
      <pc:chgData name="Vasilis Karastergios" userId="2aa9c0a1-323b-48aa-83e0-abc8de3a69d0" providerId="ADAL" clId="{CC213307-806E-488E-B632-2D0B6FC96E23}" dt="2024-02-13T13:21:34.289" v="6" actId="20577"/>
      <pc:docMkLst>
        <pc:docMk/>
      </pc:docMkLst>
      <pc:sldChg chg="modNotesTx">
        <pc:chgData name="Vasilis Karastergios" userId="2aa9c0a1-323b-48aa-83e0-abc8de3a69d0" providerId="ADAL" clId="{CC213307-806E-488E-B632-2D0B6FC96E23}" dt="2024-02-13T13:18:25.141" v="0" actId="6549"/>
        <pc:sldMkLst>
          <pc:docMk/>
          <pc:sldMk cId="901603402" sldId="4270"/>
        </pc:sldMkLst>
      </pc:sldChg>
      <pc:sldChg chg="modSp mod modNotesTx">
        <pc:chgData name="Vasilis Karastergios" userId="2aa9c0a1-323b-48aa-83e0-abc8de3a69d0" providerId="ADAL" clId="{CC213307-806E-488E-B632-2D0B6FC96E23}" dt="2024-02-13T13:21:34.289" v="6" actId="20577"/>
        <pc:sldMkLst>
          <pc:docMk/>
          <pc:sldMk cId="2300956671" sldId="4271"/>
        </pc:sldMkLst>
        <pc:spChg chg="mod">
          <ac:chgData name="Vasilis Karastergios" userId="2aa9c0a1-323b-48aa-83e0-abc8de3a69d0" providerId="ADAL" clId="{CC213307-806E-488E-B632-2D0B6FC96E23}" dt="2024-02-13T13:21:34.289" v="6" actId="20577"/>
          <ac:spMkLst>
            <pc:docMk/>
            <pc:sldMk cId="2300956671" sldId="4271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CC213307-806E-488E-B632-2D0B6FC96E23}" dt="2024-02-13T13:18:34.659" v="2" actId="6549"/>
        <pc:sldMkLst>
          <pc:docMk/>
          <pc:sldMk cId="1009971067" sldId="4272"/>
        </pc:sldMkLst>
      </pc:sldChg>
      <pc:sldChg chg="modNotesTx">
        <pc:chgData name="Vasilis Karastergios" userId="2aa9c0a1-323b-48aa-83e0-abc8de3a69d0" providerId="ADAL" clId="{CC213307-806E-488E-B632-2D0B6FC96E23}" dt="2024-02-13T13:18:48.006" v="3" actId="6549"/>
        <pc:sldMkLst>
          <pc:docMk/>
          <pc:sldMk cId="2586647777" sldId="4274"/>
        </pc:sldMkLst>
      </pc:sldChg>
      <pc:sldChg chg="modNotesTx">
        <pc:chgData name="Vasilis Karastergios" userId="2aa9c0a1-323b-48aa-83e0-abc8de3a69d0" providerId="ADAL" clId="{CC213307-806E-488E-B632-2D0B6FC96E23}" dt="2024-02-13T13:19:02.021" v="4" actId="6549"/>
        <pc:sldMkLst>
          <pc:docMk/>
          <pc:sldMk cId="2776648146" sldId="42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8E698-056B-44C0-B263-96BCBA2ABC4A}" type="datetimeFigureOut">
              <a:rPr lang="en-US" smtClean="0"/>
              <a:t>2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69F4F-8276-4C1D-AFE4-DC516D7A1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92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553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51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56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708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442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200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87CA-6372-484F-B848-0FAB91062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5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7602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27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28711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302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441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51071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0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10066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5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08496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0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890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8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66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6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86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8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3972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34030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161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89958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7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4.png"/><Relationship Id="rId4" Type="http://schemas.openxmlformats.org/officeDocument/2006/relationships/slide" Target="slide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slide" Target="slide2.xml"/><Relationship Id="rId5" Type="http://schemas.microsoft.com/office/2007/relationships/hdphoto" Target="../media/hdphoto2.wdp"/><Relationship Id="rId4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37.jpe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42.png"/><Relationship Id="rId7" Type="http://schemas.openxmlformats.org/officeDocument/2006/relationships/slide" Target="slide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45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3.png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3"/>
          <a:stretch/>
        </p:blipFill>
        <p:spPr bwMode="auto">
          <a:xfrm>
            <a:off x="6410325" y="937824"/>
            <a:ext cx="5781675" cy="592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538" y="688023"/>
            <a:ext cx="10790237" cy="369887"/>
          </a:xfrm>
        </p:spPr>
        <p:txBody>
          <a:bodyPr>
            <a:noAutofit/>
          </a:bodyPr>
          <a:lstStyle/>
          <a:p>
            <a:r>
              <a:rPr lang="en-US" sz="2800" dirty="0"/>
              <a:t>CREO PRISMATIC AND MULTI-SURFACE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538" y="1256569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chieve the highest quality, highest precision machining in the fastest time possi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84156" y="1855785"/>
            <a:ext cx="1510147" cy="14838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35010" y="190116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manufacture prototype products and/or tooling for plastic injection molded and casted component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Basic toolpaths effective for machining intricate core and cavity geometries in mold machining, and for quickly machining large, complex structural components out of solid blocks of aluminu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84156" y="3388669"/>
            <a:ext cx="1510147" cy="9408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35014" y="3388669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84156" y="4378567"/>
            <a:ext cx="1510147" cy="1004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35009" y="4460870"/>
            <a:ext cx="7634843" cy="882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84156" y="5431795"/>
            <a:ext cx="1510147" cy="7270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35012" y="5431795"/>
            <a:ext cx="6781404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Multi-surface 3-axis milling with 4- and 5-axis position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3 Axis Trajectory and 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 sequence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091288" y="1855791"/>
            <a:ext cx="0" cy="148382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091288" y="3388668"/>
            <a:ext cx="0" cy="9408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091288" y="4378564"/>
            <a:ext cx="0" cy="72709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091288" y="5154706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A81C38E0-F173-462C-88B1-51C170BEE4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A507514C-1EC3-4241-8BB8-BE0F9F22670F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FF71268-A3CB-4476-A9C3-04F69963511D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29" name="Freeform 4">
              <a:extLst>
                <a:ext uri="{FF2B5EF4-FFF2-40B4-BE49-F238E27FC236}">
                  <a16:creationId xmlns:a16="http://schemas.microsoft.com/office/drawing/2014/main" id="{1B34AD8F-D818-4ADA-BDFA-BC2A28AF96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60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REO PRODUCTION </a:t>
            </a:r>
            <a:r>
              <a:rPr lang="en-US" dirty="0"/>
              <a:t>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6333" y="1190334"/>
            <a:ext cx="11043403" cy="68190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ion and optimization of NC machining sequences to support production machining requirement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505261" y="1990407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56115" y="1892091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NC programming capabilities and tool libraries to quickly create and optimize 3-axis milling, 2- and 4-axis turning, and 2- and 4-axis wire EDM toolpath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duction Machining provides low-level NC sequence editing for toolpath control and NC toolpath optimiz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505261" y="3277358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56119" y="3290324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505261" y="4348534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56113" y="4408675"/>
            <a:ext cx="8315567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505261" y="5289330"/>
            <a:ext cx="1510147" cy="10041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56116" y="5292073"/>
            <a:ext cx="7013051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PTC Creo Prismatic and Multi-surface Milling, :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upport for CNC mills, 2- and 4-axis CNC lathes, 2- and 4-axis CNC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ow-level NC sequence editing for precise toolpath control and optimization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s to define step-by-step production planning instruction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12393" y="1990412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12393" y="3277358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12393" y="4348534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12393" y="5289327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7C2F43E1-8A61-4040-8F88-3762AA2E8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364" y="1991982"/>
            <a:ext cx="4194124" cy="239785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9">
            <a:extLst>
              <a:ext uri="{FF2B5EF4-FFF2-40B4-BE49-F238E27FC236}">
                <a16:creationId xmlns:a16="http://schemas.microsoft.com/office/drawing/2014/main" id="{82E1423E-ABDD-4239-9AF7-01C0A7A7F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937" y="4141912"/>
            <a:ext cx="3284963" cy="1658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 descr="D:\000 - CAD Sales Enablement\000 - FY16 CAD Core Plays\SmartHomeSystemIcon.png">
            <a:hlinkClick r:id="rId6" action="ppaction://hlinksldjump"/>
            <a:extLst>
              <a:ext uri="{FF2B5EF4-FFF2-40B4-BE49-F238E27FC236}">
                <a16:creationId xmlns:a16="http://schemas.microsoft.com/office/drawing/2014/main" id="{A5FB030F-07FC-4B60-889C-BC1B7559DD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95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COMPLETE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94" y="1184446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Powerful, comprehensive NC machining capabilities to meet all production machining need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95300" y="2022332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46154" y="194578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a complete NC programming solution to support advanced 2.5- to 5-axis CNC milling strategies, turning and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lete Machining provides support for advanced machining strategies and toolpath optimization for Multi-Tasking Machine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95300" y="3309283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46158" y="3354907"/>
            <a:ext cx="4903834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95300" y="4380459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46153" y="4353512"/>
            <a:ext cx="6366476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95300" y="5321255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46156" y="5327628"/>
            <a:ext cx="6781404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Creo Production Machining Extens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2.5- to 5-axis milling (advanced machining strategies)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ve tooling and multi-task machines synchronizat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02432" y="2022337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02432" y="3309283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02432" y="4380459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02432" y="532125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083A8A5-BFE0-43CC-B204-6E0E75B01DA4}"/>
              </a:ext>
            </a:extLst>
          </p:cNvPr>
          <p:cNvGrpSpPr/>
          <p:nvPr/>
        </p:nvGrpSpPr>
        <p:grpSpPr>
          <a:xfrm>
            <a:off x="7719053" y="2074076"/>
            <a:ext cx="4075904" cy="4290418"/>
            <a:chOff x="8051999" y="1981200"/>
            <a:chExt cx="4075904" cy="4290418"/>
          </a:xfrm>
        </p:grpSpPr>
        <p:pic>
          <p:nvPicPr>
            <p:cNvPr id="28" name="Picture 3" descr="D:\000 - CAD Sales Enablement\PTC Creo Manufacturing\images\maxresdefault.jpg">
              <a:extLst>
                <a:ext uri="{FF2B5EF4-FFF2-40B4-BE49-F238E27FC236}">
                  <a16:creationId xmlns:a16="http://schemas.microsoft.com/office/drawing/2014/main" id="{EDD21713-DCC9-4E27-94CF-EDCDF22E63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33"/>
            <a:stretch/>
          </p:blipFill>
          <p:spPr bwMode="auto">
            <a:xfrm>
              <a:off x="10238068" y="1981200"/>
              <a:ext cx="1889834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D:\000 - CAD Sales Enablement\PTC Creo Manufacturing\images\5-axis-impeller.jpg">
              <a:extLst>
                <a:ext uri="{FF2B5EF4-FFF2-40B4-BE49-F238E27FC236}">
                  <a16:creationId xmlns:a16="http://schemas.microsoft.com/office/drawing/2014/main" id="{954FD470-7B69-4D0B-9C40-E8B3C9487D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1999" y="1981200"/>
              <a:ext cx="208046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5" descr="D:\000 - CAD Sales Enablement\PTC Creo Manufacturing\images\shoe_mold.jpg">
              <a:extLst>
                <a:ext uri="{FF2B5EF4-FFF2-40B4-BE49-F238E27FC236}">
                  <a16:creationId xmlns:a16="http://schemas.microsoft.com/office/drawing/2014/main" id="{53D11EA4-0315-4474-8100-099C3AC698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009" y="3447584"/>
              <a:ext cx="1801749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D:\000 - CAD Sales Enablement\PTC Creo Manufacturing\images\5918799_orig.jpg">
              <a:extLst>
                <a:ext uri="{FF2B5EF4-FFF2-40B4-BE49-F238E27FC236}">
                  <a16:creationId xmlns:a16="http://schemas.microsoft.com/office/drawing/2014/main" id="{8290489D-01C2-463B-A7F8-AABBCB5BE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84970" y="3447584"/>
              <a:ext cx="164293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D:\000 - CAD Sales Enablement\PTC Creo Manufacturing\images\turbomill_i_2_copy-2.jpg">
              <a:extLst>
                <a:ext uri="{FF2B5EF4-FFF2-40B4-BE49-F238E27FC236}">
                  <a16:creationId xmlns:a16="http://schemas.microsoft.com/office/drawing/2014/main" id="{00CDD93E-3C03-4CD9-86A8-73730EB3E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61" y="4920306"/>
              <a:ext cx="2031340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6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7B5AB4A1-5B8B-4E5C-90C7-3263660E8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997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1681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turn-around and delivery of production </a:t>
            </a:r>
            <a:r>
              <a:rPr lang="en-GB" sz="2000" dirty="0" err="1"/>
              <a:t>mold</a:t>
            </a:r>
            <a:r>
              <a:rPr lang="en-GB" sz="2000" dirty="0"/>
              <a:t>, die, electrode and prototype parts </a:t>
            </a:r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EF787B-CE3D-4861-B7D3-AE6BD3F7D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44" y="1561170"/>
            <a:ext cx="6138605" cy="5296830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9FC7C03-D95E-47F4-9839-AB621006BBB3}"/>
              </a:ext>
            </a:extLst>
          </p:cNvPr>
          <p:cNvCxnSpPr>
            <a:cxnSpLocks/>
          </p:cNvCxnSpPr>
          <p:nvPr/>
        </p:nvCxnSpPr>
        <p:spPr>
          <a:xfrm flipV="1">
            <a:off x="9644349" y="2833190"/>
            <a:ext cx="866558" cy="418730"/>
          </a:xfrm>
          <a:prstGeom prst="straightConnector1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15F8A4B-F15C-4072-B666-4343364F202D}"/>
              </a:ext>
            </a:extLst>
          </p:cNvPr>
          <p:cNvGrpSpPr/>
          <p:nvPr/>
        </p:nvGrpSpPr>
        <p:grpSpPr>
          <a:xfrm>
            <a:off x="8561423" y="3307231"/>
            <a:ext cx="2167517" cy="1354217"/>
            <a:chOff x="6846136" y="3411476"/>
            <a:chExt cx="2080007" cy="129954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C075EB-622D-4DE3-A566-FA74CE3DAFDC}"/>
                </a:ext>
              </a:extLst>
            </p:cNvPr>
            <p:cNvSpPr txBox="1"/>
            <p:nvPr/>
          </p:nvSpPr>
          <p:spPr>
            <a:xfrm>
              <a:off x="6846136" y="3411476"/>
              <a:ext cx="2014241" cy="1299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Finis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Finish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99A92DE-1BE7-4A26-B417-A16F6BAB9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615220"/>
              <a:ext cx="2057121" cy="33723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AA30C6-C119-4E35-9E68-6C5B1D9AD8C3}"/>
              </a:ext>
            </a:extLst>
          </p:cNvPr>
          <p:cNvCxnSpPr/>
          <p:nvPr/>
        </p:nvCxnSpPr>
        <p:spPr>
          <a:xfrm>
            <a:off x="8559758" y="3242087"/>
            <a:ext cx="2169182" cy="0"/>
          </a:xfrm>
          <a:prstGeom prst="line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A51D05E-35E2-4621-A4DB-76906BD4381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20"/>
          <a:stretch/>
        </p:blipFill>
        <p:spPr>
          <a:xfrm>
            <a:off x="7808551" y="1779803"/>
            <a:ext cx="4292753" cy="1029353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230DC26-A762-4C43-AD67-41DCC24BAA88}"/>
              </a:ext>
            </a:extLst>
          </p:cNvPr>
          <p:cNvSpPr/>
          <p:nvPr/>
        </p:nvSpPr>
        <p:spPr>
          <a:xfrm>
            <a:off x="9532322" y="2549485"/>
            <a:ext cx="1571850" cy="259673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520622" y="2032404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71476" y="2018411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high speed 3-axis machining capabilities for mold, die, electrode and prototype machin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capabilities optimized for mold, die, electrode and prototype machining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520622" y="3001937"/>
            <a:ext cx="1510147" cy="1043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71479" y="3015790"/>
            <a:ext cx="4859947" cy="113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520622" y="4105186"/>
            <a:ext cx="1510147" cy="8958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71475" y="4105186"/>
            <a:ext cx="6363715" cy="895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520622" y="5049751"/>
            <a:ext cx="1510147" cy="13580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71477" y="5098267"/>
            <a:ext cx="4859957" cy="1266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-speed 3-axis milling powered by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ModuleWork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daptive roughing and rest roughing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Finishing and rest finishing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-axis trajectory mill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127754" y="2032409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127754" y="3001936"/>
            <a:ext cx="0" cy="104241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127754" y="4105183"/>
            <a:ext cx="0" cy="89580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127754" y="5049748"/>
            <a:ext cx="0" cy="135808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" descr="D:\000 - CAD Sales Enablement\000 - FY16 CAD Core Plays\SmartHomeSystemIcon.png">
            <a:hlinkClick r:id="rId7" action="ppaction://hlinksldjump"/>
            <a:extLst>
              <a:ext uri="{FF2B5EF4-FFF2-40B4-BE49-F238E27FC236}">
                <a16:creationId xmlns:a16="http://schemas.microsoft.com/office/drawing/2014/main" id="{2A29C780-A0D1-4A03-B195-6EAD2F2D71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EF0D741C-BBAC-490F-9AAD-BBCAE48688C0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CE7A86F-9D4B-4D73-B1A1-B2CB51F7FE78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37" name="Freeform 4">
              <a:extLst>
                <a:ext uri="{FF2B5EF4-FFF2-40B4-BE49-F238E27FC236}">
                  <a16:creationId xmlns:a16="http://schemas.microsoft.com/office/drawing/2014/main" id="{522CB3DE-E8E9-4697-A36F-349499C27E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13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00833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creation and computation of 3- and 5-axis high-speed milling sequences </a:t>
            </a:r>
            <a:endParaRPr lang="en-US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489510" y="1764423"/>
            <a:ext cx="1510147" cy="8229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40364" y="1686235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3- and 5-axis high speed machining capabilities for rapid production and manufactur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increases manufacturing efficienc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productiv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489510" y="2657754"/>
            <a:ext cx="1510147" cy="8105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40367" y="2591556"/>
            <a:ext cx="493640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489510" y="3532628"/>
            <a:ext cx="1510147" cy="11434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40362" y="3529369"/>
            <a:ext cx="5515834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489510" y="4774990"/>
            <a:ext cx="1510147" cy="1645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40365" y="4708893"/>
            <a:ext cx="5163950" cy="1819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ll the capabilities of Creo High Speed Milling </a:t>
            </a: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High-speed milling (HSM) roughing, rest roughing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including automatic 3+2 axis roughing and rest rough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to5 axis high-speed milling (HSM) conversion for finis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rest finish toolpath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auto deburr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096642" y="1764428"/>
            <a:ext cx="0" cy="822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096642" y="2657753"/>
            <a:ext cx="0" cy="8105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096642" y="3532629"/>
            <a:ext cx="0" cy="1143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096642" y="4774989"/>
            <a:ext cx="0" cy="16459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DC70161-65D4-4A13-B307-7BC03AF96C9A}"/>
              </a:ext>
            </a:extLst>
          </p:cNvPr>
          <p:cNvGrpSpPr/>
          <p:nvPr/>
        </p:nvGrpSpPr>
        <p:grpSpPr>
          <a:xfrm>
            <a:off x="7531453" y="1594695"/>
            <a:ext cx="4495044" cy="1388397"/>
            <a:chOff x="7585883" y="1387865"/>
            <a:chExt cx="4495044" cy="138839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9D88160-9C6F-4A83-8ABC-2AD77061E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29008" y="1717694"/>
              <a:ext cx="4451919" cy="1058568"/>
            </a:xfrm>
            <a:prstGeom prst="rect">
              <a:avLst/>
            </a:prstGeom>
            <a:ln w="9525">
              <a:solidFill>
                <a:schemeClr val="bg2"/>
              </a:solidFill>
            </a:ln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B1023CE-411D-4A8D-A41E-5DE1CCB6260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585883" y="1387865"/>
              <a:ext cx="449504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0B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 Advanced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09E101-A8FA-41AB-AC65-4ABDE28E8977}"/>
                </a:ext>
              </a:extLst>
            </p:cNvPr>
            <p:cNvSpPr txBox="1"/>
            <p:nvPr/>
          </p:nvSpPr>
          <p:spPr>
            <a:xfrm>
              <a:off x="7926398" y="2617546"/>
              <a:ext cx="1277594" cy="152349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B6D00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(3 and 5-axis HSM)</a:t>
              </a:r>
              <a:endParaRPr kumimoji="0" lang="en-CA" sz="1100" b="1" i="0" u="none" strike="noStrike" kern="1200" cap="none" spc="0" normalizeH="0" baseline="0" noProof="0" dirty="0">
                <a:ln>
                  <a:noFill/>
                </a:ln>
                <a:solidFill>
                  <a:srgbClr val="EB6D00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EBB5A02-D1FF-4321-87D0-535FFF7C324A}"/>
              </a:ext>
            </a:extLst>
          </p:cNvPr>
          <p:cNvGrpSpPr/>
          <p:nvPr/>
        </p:nvGrpSpPr>
        <p:grpSpPr>
          <a:xfrm>
            <a:off x="7606121" y="3072762"/>
            <a:ext cx="4474805" cy="1200329"/>
            <a:chOff x="6846136" y="3411476"/>
            <a:chExt cx="4474805" cy="1200329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7893C1-D84D-4E6A-93CD-A9D81110A49F}"/>
                </a:ext>
              </a:extLst>
            </p:cNvPr>
            <p:cNvSpPr txBox="1"/>
            <p:nvPr/>
          </p:nvSpPr>
          <p:spPr>
            <a:xfrm>
              <a:off x="6846136" y="3411476"/>
              <a:ext cx="4474805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Expanded partnership with ModuleWorks</a:t>
              </a:r>
              <a:b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</a:b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Includes existing 3-axis HSM capabilities 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Adds 7 new 5-axis HSM toolpaths 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8489C5A-61F9-46FF-8EC3-555941CC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540368"/>
              <a:ext cx="2057121" cy="337233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39" name="Explosion: 14 Points 38">
            <a:extLst>
              <a:ext uri="{FF2B5EF4-FFF2-40B4-BE49-F238E27FC236}">
                <a16:creationId xmlns:a16="http://schemas.microsoft.com/office/drawing/2014/main" id="{7F7FD82E-8B32-4CCC-A8A0-9A1B8B35DF53}"/>
              </a:ext>
            </a:extLst>
          </p:cNvPr>
          <p:cNvSpPr/>
          <p:nvPr/>
        </p:nvSpPr>
        <p:spPr>
          <a:xfrm>
            <a:off x="10451867" y="2246978"/>
            <a:ext cx="2057121" cy="1200329"/>
          </a:xfrm>
          <a:prstGeom prst="irregularSeal2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New in Creo 8.0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3BBBB66-BF74-43B3-94B1-EFBF599D45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09" b="5740"/>
          <a:stretch/>
        </p:blipFill>
        <p:spPr>
          <a:xfrm>
            <a:off x="7656195" y="4700679"/>
            <a:ext cx="2661915" cy="181935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64FB6E7-D07E-4F7C-8517-C6717C5A86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697"/>
          <a:stretch/>
        </p:blipFill>
        <p:spPr>
          <a:xfrm>
            <a:off x="9720429" y="4347764"/>
            <a:ext cx="1629059" cy="118122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064B2E5-910D-4E37-B423-B2F410AD21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7988" b="20797"/>
          <a:stretch/>
        </p:blipFill>
        <p:spPr>
          <a:xfrm>
            <a:off x="10451867" y="5299821"/>
            <a:ext cx="1629059" cy="1220215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0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B98B65F0-56A5-4181-829D-8766F6882B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664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219AAD19-813D-4C3D-9A80-CB62CAA08099}"/>
              </a:ext>
            </a:extLst>
          </p:cNvPr>
          <p:cNvGraphicFramePr>
            <a:graphicFrameLocks/>
          </p:cNvGraphicFramePr>
          <p:nvPr/>
        </p:nvGraphicFramePr>
        <p:xfrm>
          <a:off x="495300" y="1178857"/>
          <a:ext cx="11247120" cy="51971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78261603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6569240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04133981"/>
                    </a:ext>
                  </a:extLst>
                </a:gridCol>
              </a:tblGrid>
              <a:tr h="75782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Times New Roman"/>
                      </a:endParaRPr>
                    </a:p>
                  </a:txBody>
                  <a:tcPr marL="59027" marR="59027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unctionality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ismatic &amp; Multi-Surface Mill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oduction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Complete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High Speed Milling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High Speed Milling Advanced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NC Sheetmetal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796">
                <a:tc rowSpan="1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NC Machine type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73108" marR="73108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2 ½ Axis Feature Based Machining 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3 Axis Mill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8C9C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High-speed Milling (HSM) Roughing, Rest Roughing, Finish and Rest Finish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803641"/>
                  </a:ext>
                </a:extLst>
              </a:tr>
              <a:tr h="2912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High-speed milling (HSM) Roughing, Rest Roughing, including automatic 3+2 Axis Roughing and Rest Rough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220276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to5 Axis High-speed Milling (HSM) Conversion for Finish and Rest Finish toolpaths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5116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Auto Deburring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61328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ic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144318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21003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Trajectory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89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Turning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Wire EDM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e Tooling for Turning (Mill/Turn)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Continuous Milling, including 5 Axis Trajectory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-task Machining Synchronization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801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Tool Axis Definition in Turn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937057"/>
                  </a:ext>
                </a:extLst>
              </a:tr>
              <a:tr h="200796">
                <a:tc rowSpan="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Mfg. productivity tools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100372" marR="100372" marT="50186" marB="50186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Extraction of Manuf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ur</a:t>
                      </a:r>
                      <a:r>
                        <a:rPr lang="en-US" sz="900" dirty="0"/>
                        <a:t>ing Annotation Features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Tool and Fixture library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Manufacturing Process Documentation Pro/PROCESS for Manufactur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Automatic Nest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Punch Press and 2 Axis Laser Programm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16">
                <a:tc rowSpan="2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/>
                        <a:t>Post &amp; Sim.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Creo/NC-GPOST : NC Post-processor generator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r>
                        <a:rPr lang="en-US" sz="105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/>
                        <a:t>Moduleworks-based Material Removal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22083"/>
                  </a:ext>
                </a:extLst>
              </a:tr>
            </a:tbl>
          </a:graphicData>
        </a:graphic>
      </p:graphicFrame>
      <p:sp>
        <p:nvSpPr>
          <p:cNvPr id="11" name="Título 10">
            <a:extLst>
              <a:ext uri="{FF2B5EF4-FFF2-40B4-BE49-F238E27FC236}">
                <a16:creationId xmlns:a16="http://schemas.microsoft.com/office/drawing/2014/main" id="{B2B00605-4015-47B6-AE69-83C50611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CA" dirty="0"/>
              <a:t>Creo Manufacturing Comparison Chart</a:t>
            </a:r>
            <a:endParaRPr lang="en-US" dirty="0"/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BAAD5BF-6B40-4E6B-B00F-E5081F48A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544388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6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007</Words>
  <Application>Microsoft Office PowerPoint</Application>
  <PresentationFormat>Widescreen</PresentationFormat>
  <Paragraphs>213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MS PGothic</vt:lpstr>
      <vt:lpstr>Arial</vt:lpstr>
      <vt:lpstr>Arial Narrow</vt:lpstr>
      <vt:lpstr>Calibri</vt:lpstr>
      <vt:lpstr>PTCRaleway</vt:lpstr>
      <vt:lpstr>Wingdings</vt:lpstr>
      <vt:lpstr>PTC PowerPoint Template</vt:lpstr>
      <vt:lpstr>think-cell Slide</vt:lpstr>
      <vt:lpstr>CREO PRISMATIC AND MULTI-SURFACE MILLING EXTENSION</vt:lpstr>
      <vt:lpstr>CREO PRODUCTION MACHINING EXTENSION</vt:lpstr>
      <vt:lpstr>CREO COMPLETE MACHINING EXTENSION</vt:lpstr>
      <vt:lpstr>CREO HIGH SPEED MILLING EXTENSION</vt:lpstr>
      <vt:lpstr>CREO HIGH SPEED MILLING ADVANCED EXTENSION</vt:lpstr>
      <vt:lpstr>Creo Manufacturing Comparison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RISMATIC AND MULTI-SURFACE MILLING EXTENSION</dc:title>
  <dc:creator>Vasilis Karastergios</dc:creator>
  <cp:lastModifiedBy>Vasilis Karastergios</cp:lastModifiedBy>
  <cp:revision>2</cp:revision>
  <dcterms:created xsi:type="dcterms:W3CDTF">2023-03-11T19:18:46Z</dcterms:created>
  <dcterms:modified xsi:type="dcterms:W3CDTF">2024-02-13T13:21:36Z</dcterms:modified>
</cp:coreProperties>
</file>